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0" r:id="rId5"/>
  </p:sldMasterIdLst>
  <p:notesMasterIdLst>
    <p:notesMasterId r:id="rId8"/>
  </p:notesMasterIdLst>
  <p:handoutMasterIdLst>
    <p:handoutMasterId r:id="rId9"/>
  </p:handoutMasterIdLst>
  <p:sldIdLst>
    <p:sldId id="386" r:id="rId6"/>
    <p:sldId id="363" r:id="rId7"/>
  </p:sldIdLst>
  <p:sldSz cx="12192000" cy="6858000"/>
  <p:notesSz cx="6858000" cy="9144000"/>
  <p:custDataLst>
    <p:tags r:id="rId1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106" d="100"/>
          <a:sy n="106" d="100"/>
        </p:scale>
        <p:origin x="522" y="120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15-9-2021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15-9-2021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12.jpg"/><Relationship Id="rId7" Type="http://schemas.openxmlformats.org/officeDocument/2006/relationships/hyperlink" Target="mailto:FRPortingDesk@colt.net" TargetMode="External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NULL" TargetMode="External"/><Relationship Id="rId11" Type="http://schemas.openxmlformats.org/officeDocument/2006/relationships/image" Target="../media/image16.png"/><Relationship Id="rId5" Type="http://schemas.openxmlformats.org/officeDocument/2006/relationships/hyperlink" Target="NULL" TargetMode="External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France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3322431"/>
              </p:ext>
            </p:extLst>
          </p:nvPr>
        </p:nvGraphicFramePr>
        <p:xfrm>
          <a:off x="795900" y="866497"/>
          <a:ext cx="10863790" cy="5610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9:00 – 12:00 CET (Mon-Fri)</a:t>
                      </a:r>
                      <a:endParaRPr lang="en-US" sz="1400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9:00–11:30 &amp; 14:00-16:00 CET (Mon-Fri)</a:t>
                      </a:r>
                      <a:endParaRPr lang="en-GB" sz="14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600"/>
                        </a:spcBef>
                      </a:pPr>
                      <a:endParaRPr lang="en-GB" sz="160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</a:t>
                      </a:r>
                      <a:r>
                        <a:rPr lang="en-GB" sz="16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br>
                        <a:rPr lang="en-GB" sz="1600" kern="120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en-GB" sz="1600" kern="1200"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: 20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3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1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  <a:endParaRPr lang="en-GB" sz="1400" b="0" baseline="0" dirty="0"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  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endParaRPr lang="en-GB" sz="1400" b="0" i="0" u="none" strike="noStrike" baseline="0" noProof="0" dirty="0">
                        <a:latin typeface="Arial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 customer facing resourc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GB" sz="1400" b="0" i="0" u="none" strike="noStrike" baseline="0" noProof="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521083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4 working days</a:t>
                      </a:r>
                      <a:endParaRPr lang="en-GB" sz="14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</a:t>
                      </a:r>
                      <a:br>
                        <a:rPr lang="en-GB" sz="1400" b="0" dirty="0"/>
                      </a:b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See 'French operators list' tab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 invalidUrl="http://"/>
                        </a:rPr>
                        <a:t>https://www.colt.net/porting-information/</a:t>
                      </a:r>
                      <a:br>
                        <a:rPr lang="en-GB" sz="1400" u="sng" kern="1200" dirty="0">
                          <a:latin typeface="+mn-lt"/>
                          <a:ea typeface="+mn-ea"/>
                          <a:cs typeface="+mn-cs"/>
                          <a:hlinkClick r:id="rId6" invalidUrl="http://"/>
                        </a:rPr>
                      </a:br>
                      <a:r>
                        <a:rPr lang="en-GB" sz="1400" b="0" i="0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ilbox: 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latin typeface="Arial"/>
                          <a:hlinkClick r:id="rId7"/>
                        </a:rPr>
                        <a:t>FRPortingDesk</a:t>
                      </a:r>
                      <a:r>
                        <a:rPr lang="en-GB" sz="1400" b="0" i="0" u="sng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hlinkClick r:id="rId7"/>
                        </a:rPr>
                        <a:t>@colt.net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FF Number: </a:t>
                      </a:r>
                      <a:r>
                        <a:rPr lang="en-GB" sz="1400" b="0" i="0" u="none" strike="noStrike" kern="120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33 800940650</a:t>
                      </a:r>
                      <a:endParaRPr lang="en-GB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400" b="0" i="0" u="sng" strike="noStrike" kern="1200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820" y="3490029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507" y="4178504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89" y="5203586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59" y="2889786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123642-76BC-4072-BEEA-2E059873273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E378C65B-F038-4030-B686-C5B2D4A906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DD3B6B-F286-4334-88D6-AD25C71B288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8</Words>
  <Application>Microsoft Office PowerPoint</Application>
  <PresentationFormat>Widescreen</PresentationFormat>
  <Paragraphs>21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Open Sans</vt:lpstr>
      <vt:lpstr>Oswald</vt:lpstr>
      <vt:lpstr>Arial</vt:lpstr>
      <vt:lpstr>Calibri</vt:lpstr>
      <vt:lpstr>Courier New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Garner, Joseph</cp:lastModifiedBy>
  <cp:revision>485</cp:revision>
  <dcterms:created xsi:type="dcterms:W3CDTF">2017-08-30T16:21:34Z</dcterms:created>
  <dcterms:modified xsi:type="dcterms:W3CDTF">2021-09-15T12:33:12Z</dcterms:modified>
</cp:coreProperties>
</file>